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80" r:id="rId14"/>
    <p:sldId id="1949" r:id="rId15"/>
    <p:sldId id="1979" r:id="rId16"/>
    <p:sldId id="1950" r:id="rId17"/>
    <p:sldId id="1981" r:id="rId18"/>
    <p:sldId id="1972" r:id="rId19"/>
    <p:sldId id="1977" r:id="rId20"/>
    <p:sldId id="1948" r:id="rId21"/>
    <p:sldId id="1978" r:id="rId22"/>
    <p:sldId id="1975" r:id="rId23"/>
    <p:sldId id="1945" r:id="rId24"/>
  </p:sldIdLst>
  <p:sldSz cx="9144000" cy="6858000" type="screen4x3"/>
  <p:notesSz cx="6858000" cy="9661525"/>
  <p:custShowLst>
    <p:custShow name="Mustermann1" id="0">
      <p:sldLst/>
    </p:custShow>
  </p:custShowLst>
  <p:custDataLst>
    <p:tags r:id="rId2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FF3300"/>
    <a:srgbClr val="00377E"/>
    <a:srgbClr val="800000"/>
    <a:srgbClr val="990000"/>
    <a:srgbClr val="CC00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84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78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hadoop.apache.org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12" name="Grafik 11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61D40853-8969-96DE-AD92-4A0787B2F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080" y="1217208"/>
            <a:ext cx="8013840" cy="2520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1C26EA-8B35-C71C-E4B9-4D8ED48E2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4253256"/>
            <a:ext cx="8385653" cy="2193591"/>
          </a:xfrm>
        </p:spPr>
        <p:txBody>
          <a:bodyPr/>
          <a:lstStyle/>
          <a:p>
            <a:r>
              <a:rPr lang="en-US" dirty="0"/>
              <a:t>Apache Spark is a framework for data science, machine learning and data engineering on single-node machines or clusters.</a:t>
            </a:r>
          </a:p>
          <a:p>
            <a:r>
              <a:rPr lang="en-US" dirty="0"/>
              <a:t>Key modules of Apache Spark are </a:t>
            </a:r>
            <a:r>
              <a:rPr lang="en-US" b="1" dirty="0" err="1"/>
              <a:t>MLlib</a:t>
            </a:r>
            <a:r>
              <a:rPr lang="en-US" dirty="0"/>
              <a:t> (Machine Learning Library), </a:t>
            </a:r>
            <a:r>
              <a:rPr lang="en-US" b="1" dirty="0"/>
              <a:t>Streaming</a:t>
            </a:r>
            <a:r>
              <a:rPr lang="en-US" dirty="0"/>
              <a:t> for processing real-time data, </a:t>
            </a:r>
            <a:r>
              <a:rPr lang="en-US" b="1" dirty="0"/>
              <a:t>SQL</a:t>
            </a:r>
            <a:r>
              <a:rPr lang="en-US" dirty="0"/>
              <a:t> analytics and  </a:t>
            </a:r>
            <a:r>
              <a:rPr lang="en-US" b="1" dirty="0" err="1"/>
              <a:t>GraphX</a:t>
            </a:r>
            <a:r>
              <a:rPr lang="en-US" dirty="0"/>
              <a:t> for visualiz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  <p:pic>
        <p:nvPicPr>
          <p:cNvPr id="8" name="Grafik 7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795B749-F68C-1FE0-659F-05190C721D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7008" y="1220865"/>
            <a:ext cx="6211791" cy="310899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532670C-8582-2697-A349-FBB8196443BD}"/>
              </a:ext>
            </a:extLst>
          </p:cNvPr>
          <p:cNvSpPr txBox="1">
            <a:spLocks/>
          </p:cNvSpPr>
          <p:nvPr/>
        </p:nvSpPr>
        <p:spPr>
          <a:xfrm>
            <a:off x="572399" y="4487901"/>
            <a:ext cx="8063999" cy="1445832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kern="0" dirty="0"/>
              <a:t>Structured Streaming is a </a:t>
            </a:r>
            <a:r>
              <a:rPr lang="en-US" b="1" kern="0" dirty="0"/>
              <a:t>scalable</a:t>
            </a:r>
            <a:r>
              <a:rPr lang="en-US" kern="0" dirty="0"/>
              <a:t> and </a:t>
            </a:r>
            <a:r>
              <a:rPr lang="en-US" b="1" kern="0" dirty="0"/>
              <a:t>fault tolerant </a:t>
            </a:r>
            <a:r>
              <a:rPr lang="en-US" kern="0" dirty="0"/>
              <a:t>stream processing module.</a:t>
            </a:r>
          </a:p>
          <a:p>
            <a:r>
              <a:rPr lang="en-US" kern="0" dirty="0"/>
              <a:t>Data streams in Structured Streaming are represented as </a:t>
            </a:r>
            <a:r>
              <a:rPr lang="en-US" b="1" kern="0" dirty="0"/>
              <a:t>unbounded tables </a:t>
            </a:r>
            <a:r>
              <a:rPr lang="en-US" kern="0" dirty="0"/>
              <a:t>with new data being treated as </a:t>
            </a:r>
            <a:r>
              <a:rPr lang="en-US" b="1" kern="0" dirty="0"/>
              <a:t>incoming rows</a:t>
            </a:r>
            <a:r>
              <a:rPr lang="en-US" kern="0" dirty="0"/>
              <a:t>.</a:t>
            </a:r>
          </a:p>
          <a:p>
            <a:r>
              <a:rPr lang="en-US" kern="0" dirty="0"/>
              <a:t>Structured Streaming manages </a:t>
            </a:r>
            <a:r>
              <a:rPr lang="en-US" b="1" kern="0" dirty="0"/>
              <a:t>late incoming data </a:t>
            </a:r>
            <a:r>
              <a:rPr lang="en-US" kern="0" dirty="0"/>
              <a:t>efficiently by managing and processing it appropriately. </a:t>
            </a:r>
          </a:p>
        </p:txBody>
      </p:sp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9780-3A58-4B7B-A6FA-CAEA7B66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ppa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133DB-7E7F-865E-6845-D24EC05F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comparison to Lambda, Kappa handles all data as a single data stream, which simplifies the whole pipeline and reduces overall complexity.</a:t>
            </a:r>
          </a:p>
          <a:p>
            <a:endParaRPr lang="en-US" dirty="0"/>
          </a:p>
          <a:p>
            <a:r>
              <a:rPr lang="en-US" dirty="0"/>
              <a:t>Kappa assumes, that incoming logs are immutable, which important for data reprocessing by new changes to your stream processing frameworks.</a:t>
            </a:r>
          </a:p>
          <a:p>
            <a:endParaRPr lang="en-US" dirty="0"/>
          </a:p>
          <a:p>
            <a:r>
              <a:rPr lang="en-US" dirty="0"/>
              <a:t>Kappa, by its design, is great scalable and ensures fault tolerance when it is used in couple with Apache Kafka.</a:t>
            </a:r>
          </a:p>
          <a:p>
            <a:endParaRPr lang="en-US" dirty="0"/>
          </a:p>
          <a:p>
            <a:r>
              <a:rPr lang="en-US" dirty="0"/>
              <a:t>Single speed layer requires resources for continuous processing,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cost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late-arriv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. So,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historical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a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stream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processed</a:t>
            </a:r>
            <a:r>
              <a:rPr lang="de-DE" dirty="0"/>
              <a:t>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0CA9A-E046-400C-98CC-C132DF7C0B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7113850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D7033-A40F-557A-C73A-6296AFB59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Kafk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70968-9352-CD39-B404-C59E09C3DA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afka is an open-source, distributed streaming platform for real-time data pipelin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application uses publish-subscribe messaging model, meaning Kafka publishes messages to topics and consumers have pull newcoming event for further processing. The decoupling of consumer and producers provides better flexibility and independent scalability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pache Kafka ensures no data-loss by adjustable fault tolerance via events replication across multiple Kafka nod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ince Kafka is widely used, it supports various scenarios and enables to be built-in in almost every data processing pipeline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711D0A-9F08-1101-381F-DA81FC570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6308426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042D6-5D7E-A57E-45FE-4B3255BE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0BA62F-4AA7-11E7-3880-EEEDA9B60F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supports real-time even processing, which also supports handling of delayed or out-of-order events.</a:t>
            </a:r>
          </a:p>
          <a:p>
            <a:endParaRPr lang="en-US" dirty="0"/>
          </a:p>
          <a:p>
            <a:r>
              <a:rPr lang="en-US" dirty="0" err="1"/>
              <a:t>Flink</a:t>
            </a:r>
            <a:r>
              <a:rPr lang="en-US" dirty="0"/>
              <a:t> processes mainly data as streams without cutting data to </a:t>
            </a:r>
            <a:r>
              <a:rPr lang="en-US" dirty="0" err="1"/>
              <a:t>microbatches</a:t>
            </a:r>
            <a:r>
              <a:rPr lang="en-US" dirty="0"/>
              <a:t>, as it is made by Apache Spark. So that increases data throughput and lowering the system latency.</a:t>
            </a:r>
          </a:p>
          <a:p>
            <a:endParaRPr lang="en-US" dirty="0"/>
          </a:p>
          <a:p>
            <a:r>
              <a:rPr lang="en-US" dirty="0"/>
              <a:t>The framework ensures Exactly-Once-Processing, avoiding data duplication or losses. By high data volumes, it allows to decrease event computation cost for the sake of money saving.</a:t>
            </a:r>
          </a:p>
          <a:p>
            <a:endParaRPr lang="en-US" dirty="0"/>
          </a:p>
          <a:p>
            <a:r>
              <a:rPr lang="en-US" dirty="0"/>
              <a:t>The tool automatically manages memory without unnecessary data shuffling, leading to better overall performance and saving the available resources.</a:t>
            </a:r>
          </a:p>
          <a:p>
            <a:endParaRPr lang="en-US" dirty="0"/>
          </a:p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can be easily integrated with every other tool, provided by the Apache ecosyste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E9EF72-89B3-71C1-307D-E602B01B25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848780754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  <a:endParaRPr lang="de-DE" sz="2000" dirty="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sz="1400" dirty="0" err="1"/>
              <a:t>Before</a:t>
            </a:r>
            <a:r>
              <a:rPr lang="de-DE" sz="1400" dirty="0"/>
              <a:t>: 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41D8DA-6FDC-1129-868F-248B774172BA}"/>
              </a:ext>
            </a:extLst>
          </p:cNvPr>
          <p:cNvSpPr txBox="1"/>
          <p:nvPr/>
        </p:nvSpPr>
        <p:spPr>
          <a:xfrm>
            <a:off x="816095" y="151213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Batch lay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FFC2CA-D8EA-FE90-C20B-0F1543F7DD2E}"/>
              </a:ext>
            </a:extLst>
          </p:cNvPr>
          <p:cNvSpPr txBox="1"/>
          <p:nvPr/>
        </p:nvSpPr>
        <p:spPr>
          <a:xfrm>
            <a:off x="816095" y="5345870"/>
            <a:ext cx="189346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peed layer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624A9-0C73-05DF-78AA-5F6B39720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C0EA2-9A87-4ED1-DF77-180D63B1D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 err="1"/>
              <a:t>Summingbird</a:t>
            </a:r>
            <a:r>
              <a:rPr lang="de-DE" sz="1800" dirty="0"/>
              <a:t> </a:t>
            </a:r>
            <a:r>
              <a:rPr lang="de-DE" sz="1800" dirty="0" err="1"/>
              <a:t>provides</a:t>
            </a:r>
            <a:r>
              <a:rPr lang="de-DE" sz="1800" dirty="0"/>
              <a:t> high-level </a:t>
            </a:r>
            <a:r>
              <a:rPr lang="de-DE" sz="1800" dirty="0" err="1"/>
              <a:t>language</a:t>
            </a:r>
            <a:r>
              <a:rPr lang="de-DE" sz="1800" dirty="0"/>
              <a:t>, </a:t>
            </a:r>
            <a:r>
              <a:rPr lang="de-DE" sz="1800" dirty="0" err="1"/>
              <a:t>eliminat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blem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arallel </a:t>
            </a:r>
            <a:r>
              <a:rPr lang="de-DE" sz="1800" dirty="0" err="1"/>
              <a:t>maintainance</a:t>
            </a:r>
            <a:r>
              <a:rPr lang="de-DE" sz="1800" dirty="0"/>
              <a:t> Lambda </a:t>
            </a:r>
            <a:r>
              <a:rPr lang="de-DE" sz="1800" dirty="0" err="1"/>
              <a:t>layers</a:t>
            </a:r>
            <a:r>
              <a:rPr lang="de-DE" sz="1800" dirty="0"/>
              <a:t>.</a:t>
            </a:r>
          </a:p>
          <a:p>
            <a:endParaRPr lang="en-US" sz="1800" dirty="0"/>
          </a:p>
          <a:p>
            <a:r>
              <a:rPr lang="en-US" sz="1800" dirty="0"/>
              <a:t>Twitter Service Auto-Scaling Rules (TSAR) manages services’ auto-scaling. It adjusts the number of instances running for a particular service based on real-time demand. Also, merges produced data by both layers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Batch processing costs are reduced by centralizing the computing on one data center and replicas distribution to others.</a:t>
            </a:r>
          </a:p>
          <a:p>
            <a:endParaRPr lang="en-US" sz="1800" dirty="0"/>
          </a:p>
          <a:p>
            <a:r>
              <a:rPr lang="en-US" sz="1800" dirty="0"/>
              <a:t>Arising streaming volumes led to the data losses in the Speed Layer, which resulted into less accurate aggregated data shown to Twitter user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01F57-66DA-0D86-3768-0E6285E5C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Lambda Insights</a:t>
            </a:r>
          </a:p>
        </p:txBody>
      </p:sp>
    </p:spTree>
    <p:extLst>
      <p:ext uri="{BB962C8B-B14F-4D97-AF65-F5344CB8AC3E}">
        <p14:creationId xmlns:p14="http://schemas.microsoft.com/office/powerpoint/2010/main" val="335116240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6803-ACDE-F9C6-A910-9A444A86C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64E4-5355-3BEA-6DF3-3AE775A1A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the whole data pipeline, Twitter ensures that all message are delivered, by using at-least-once semantics.</a:t>
            </a:r>
          </a:p>
          <a:p>
            <a:endParaRPr lang="en-US" dirty="0"/>
          </a:p>
          <a:p>
            <a:r>
              <a:rPr lang="en-US" dirty="0"/>
              <a:t>Before transferring to the cloud, the pipeline makes data preprocessing and optimizes Kafka logs for a </a:t>
            </a:r>
            <a:r>
              <a:rPr lang="en-US" dirty="0" err="1"/>
              <a:t>Pubsub</a:t>
            </a:r>
            <a:r>
              <a:rPr lang="en-US" dirty="0"/>
              <a:t> topic for reducing data storage.</a:t>
            </a:r>
          </a:p>
          <a:p>
            <a:endParaRPr lang="en-US" dirty="0"/>
          </a:p>
          <a:p>
            <a:r>
              <a:rPr lang="en-US" dirty="0"/>
              <a:t>To achieve near exactly-once processing, Twitter applies internal deduping strategies within a timed window. The deduplication is made by Dataflow workers via UUID assigned by the Event Processor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stributed aggregation of real-time data over Dataflow and </a:t>
            </a:r>
            <a:r>
              <a:rPr lang="en-US" dirty="0" err="1"/>
              <a:t>BigQuery</a:t>
            </a:r>
            <a:r>
              <a:rPr lang="en-US" dirty="0"/>
              <a:t> provides low-latency and high streaming throughput.</a:t>
            </a:r>
          </a:p>
          <a:p>
            <a:endParaRPr lang="en-US" dirty="0"/>
          </a:p>
          <a:p>
            <a:r>
              <a:rPr lang="en-US" dirty="0"/>
              <a:t>On-premise Twitter query services tap the data from the high-scalable and distributed storage system for structured data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5EC48B-9240-23CA-EF93-F0F219A38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Kappa Insights</a:t>
            </a:r>
          </a:p>
        </p:txBody>
      </p:sp>
    </p:spTree>
    <p:extLst>
      <p:ext uri="{BB962C8B-B14F-4D97-AF65-F5344CB8AC3E}">
        <p14:creationId xmlns:p14="http://schemas.microsoft.com/office/powerpoint/2010/main" val="3675165042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703086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Chang, Dean (2006). Bigtable: A Distributed Storage System for Structured Data. 7th USENIX Symposium on Operating Systems Design and Implementation (OSDI)</a:t>
            </a: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5. Hadoop Documentation: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  <a:hlinkClick r:id="rId4"/>
              </a:rPr>
              <a:t>https://hadoop.apache.org/</a:t>
            </a:r>
            <a:endParaRPr lang="en-US" sz="11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6. Apache Spark Documentation: https://spark.apache.org/</a:t>
            </a: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  <p:pic>
        <p:nvPicPr>
          <p:cNvPr id="4" name="Grafik 3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8A390D03-C5D6-685C-CAE1-28DF99C03A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41" y="1745183"/>
            <a:ext cx="8369558" cy="336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6BE62E99-A72A-BAA2-2F3B-BD57EA83A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4093" y="1211602"/>
            <a:ext cx="5306723" cy="472237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86B04C-3516-1686-2259-893A4FE17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375" y="1793072"/>
            <a:ext cx="2577974" cy="3559431"/>
          </a:xfrm>
        </p:spPr>
        <p:txBody>
          <a:bodyPr/>
          <a:lstStyle/>
          <a:p>
            <a:r>
              <a:rPr lang="en-US" dirty="0"/>
              <a:t>OLTP and OLAP are traditional infrastructures for managing data.</a:t>
            </a:r>
          </a:p>
          <a:p>
            <a:r>
              <a:rPr lang="en-US" dirty="0"/>
              <a:t>OLTP and OLAP can be combined as one system. </a:t>
            </a:r>
          </a:p>
          <a:p>
            <a:r>
              <a:rPr lang="en-US" b="1" dirty="0"/>
              <a:t>Producer</a:t>
            </a:r>
            <a:r>
              <a:rPr lang="en-US" dirty="0"/>
              <a:t> is generating data.  </a:t>
            </a:r>
          </a:p>
          <a:p>
            <a:r>
              <a:rPr lang="en-US" b="1" dirty="0"/>
              <a:t>Event</a:t>
            </a:r>
            <a:r>
              <a:rPr lang="en-US" dirty="0"/>
              <a:t> is triggering the process (interaction).</a:t>
            </a:r>
          </a:p>
          <a:p>
            <a:r>
              <a:rPr lang="en-US" b="1" dirty="0"/>
              <a:t>Consumer</a:t>
            </a:r>
            <a:r>
              <a:rPr lang="en-US" dirty="0"/>
              <a:t> is receiving data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232929D-85CB-6DB5-B2AD-02B7D944E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4777" y="3429000"/>
            <a:ext cx="5934445" cy="25200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37E2A3C-2D95-3C03-D58D-DCAB34A7B8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7722295" cy="1817641"/>
          </a:xfrm>
        </p:spPr>
        <p:txBody>
          <a:bodyPr/>
          <a:lstStyle/>
          <a:p>
            <a:r>
              <a:rPr lang="en-US" dirty="0"/>
              <a:t>Lambda architecture can be represented as a </a:t>
            </a:r>
            <a:r>
              <a:rPr lang="en-US" b="1" dirty="0"/>
              <a:t>three-layer system</a:t>
            </a:r>
            <a:r>
              <a:rPr lang="en-US" dirty="0"/>
              <a:t>. </a:t>
            </a:r>
          </a:p>
          <a:p>
            <a:r>
              <a:rPr lang="en-US" b="1" dirty="0"/>
              <a:t>Batch Layer </a:t>
            </a:r>
            <a:r>
              <a:rPr lang="en-US" dirty="0"/>
              <a:t>processes all the data and calculates precise results. </a:t>
            </a:r>
          </a:p>
          <a:p>
            <a:r>
              <a:rPr lang="en-US" b="1" dirty="0"/>
              <a:t>Speed Layer </a:t>
            </a:r>
            <a:r>
              <a:rPr lang="en-US" dirty="0"/>
              <a:t>continuously processes newly incoming data while the Batch Layer is still in progress. </a:t>
            </a:r>
          </a:p>
          <a:p>
            <a:r>
              <a:rPr lang="en-US" b="1" dirty="0"/>
              <a:t>Serving Layer </a:t>
            </a:r>
            <a:r>
              <a:rPr lang="en-US" dirty="0"/>
              <a:t>combines batch and speed layers. Allows query historical and current data.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DBD432A-6E8E-1683-1A09-0EBF124030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08667" y="3429000"/>
            <a:ext cx="5926666" cy="251999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D6A4E2-03B0-8EA3-B689-E7D117747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1308597"/>
            <a:ext cx="8385653" cy="2046396"/>
          </a:xfrm>
        </p:spPr>
        <p:txBody>
          <a:bodyPr/>
          <a:lstStyle/>
          <a:p>
            <a:r>
              <a:rPr lang="en-US" b="1" dirty="0"/>
              <a:t>Kafka</a:t>
            </a:r>
            <a:r>
              <a:rPr lang="en-US" dirty="0"/>
              <a:t> is processing all the events. </a:t>
            </a:r>
          </a:p>
          <a:p>
            <a:r>
              <a:rPr lang="en-US" b="1" dirty="0"/>
              <a:t>Hadoop</a:t>
            </a:r>
            <a:r>
              <a:rPr lang="en-US" dirty="0"/>
              <a:t> is used in the </a:t>
            </a:r>
            <a:r>
              <a:rPr lang="en-US" i="1" dirty="0"/>
              <a:t>Batch Layer </a:t>
            </a:r>
            <a:r>
              <a:rPr lang="en-US" dirty="0"/>
              <a:t>and uses HDFS to store the data and MapReduce for batch processing.</a:t>
            </a:r>
          </a:p>
          <a:p>
            <a:r>
              <a:rPr lang="en-US" b="1" dirty="0"/>
              <a:t>Apache Spark </a:t>
            </a:r>
            <a:r>
              <a:rPr lang="en-US" dirty="0"/>
              <a:t>is utilized in the </a:t>
            </a:r>
            <a:r>
              <a:rPr lang="en-US" i="1" dirty="0"/>
              <a:t>Speed Layer </a:t>
            </a:r>
            <a:r>
              <a:rPr lang="en-US" dirty="0"/>
              <a:t>and process and analyze new data in real-time.</a:t>
            </a:r>
          </a:p>
          <a:p>
            <a:r>
              <a:rPr lang="en-US" b="1" dirty="0"/>
              <a:t>Apache Cassandra </a:t>
            </a:r>
            <a:r>
              <a:rPr lang="en-US" dirty="0"/>
              <a:t>is used in the </a:t>
            </a:r>
            <a:r>
              <a:rPr lang="en-US" i="1" dirty="0"/>
              <a:t>Serving Layer </a:t>
            </a:r>
            <a:r>
              <a:rPr lang="en-US" dirty="0"/>
              <a:t>and is a distributed NoSQL database, that can store both historical batch data and real-time data enabling fast queries.</a:t>
            </a:r>
          </a:p>
        </p:txBody>
      </p:sp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  <p:pic>
        <p:nvPicPr>
          <p:cNvPr id="4" name="Grafik 3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79B042EB-9B41-CBAB-4385-8659A7410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138" y="1140436"/>
            <a:ext cx="4914522" cy="2520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AF43DD-7F8A-2527-9508-8B3290A59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746" y="3805924"/>
            <a:ext cx="8385653" cy="2193591"/>
          </a:xfrm>
        </p:spPr>
        <p:txBody>
          <a:bodyPr/>
          <a:lstStyle/>
          <a:p>
            <a:r>
              <a:rPr lang="en-US" dirty="0"/>
              <a:t>Hadoop</a:t>
            </a:r>
            <a:r>
              <a:rPr lang="en-US" b="1" dirty="0"/>
              <a:t> </a:t>
            </a:r>
            <a:r>
              <a:rPr lang="en-US" dirty="0"/>
              <a:t>is a framework that is made for distributed processing of large data sets.</a:t>
            </a:r>
          </a:p>
          <a:p>
            <a:r>
              <a:rPr lang="en-US" dirty="0"/>
              <a:t>Hadoop uses clusters of computers for processing and storing. </a:t>
            </a:r>
          </a:p>
          <a:p>
            <a:r>
              <a:rPr lang="en-US" dirty="0"/>
              <a:t>The most important modules are HDFS, YARN and MapReduce.</a:t>
            </a:r>
          </a:p>
          <a:p>
            <a:r>
              <a:rPr lang="en-US" b="1" dirty="0"/>
              <a:t>HDFS (Distributed File System)</a:t>
            </a:r>
            <a:r>
              <a:rPr lang="en-US" dirty="0"/>
              <a:t> is a distributed file system.</a:t>
            </a:r>
          </a:p>
          <a:p>
            <a:r>
              <a:rPr lang="en-US" b="1" dirty="0"/>
              <a:t>YARN (Yet Another Resource Negotiator)</a:t>
            </a:r>
            <a:r>
              <a:rPr lang="en-US" dirty="0"/>
              <a:t> is made for job scheduling and resource management.</a:t>
            </a:r>
          </a:p>
          <a:p>
            <a:r>
              <a:rPr lang="en-US" b="1" dirty="0"/>
              <a:t>MapReduce</a:t>
            </a:r>
            <a:r>
              <a:rPr lang="en-US" dirty="0"/>
              <a:t> is a YARN-based system for parallel processing of large data sets.</a:t>
            </a:r>
          </a:p>
        </p:txBody>
      </p:sp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dirty="0"/>
              <a:t>HDFS Conce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79777-6EF8-AC95-5692-603F15577F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4993" y="1319282"/>
            <a:ext cx="4222281" cy="4955518"/>
          </a:xfrm>
        </p:spPr>
        <p:txBody>
          <a:bodyPr/>
          <a:lstStyle/>
          <a:p>
            <a:r>
              <a:rPr lang="en-US" dirty="0"/>
              <a:t>The Concept of HDFS is to split data sets into small chunks within a cluster.</a:t>
            </a:r>
          </a:p>
          <a:p>
            <a:r>
              <a:rPr lang="en-US" dirty="0"/>
              <a:t>A </a:t>
            </a:r>
            <a:r>
              <a:rPr lang="en-US" b="1" dirty="0" err="1"/>
              <a:t>NameNode</a:t>
            </a:r>
            <a:r>
              <a:rPr lang="en-US" dirty="0"/>
              <a:t> (Coordinator Node) is responsible for allocation and management of this divided chunks.</a:t>
            </a:r>
          </a:p>
          <a:p>
            <a:r>
              <a:rPr lang="en-US" dirty="0"/>
              <a:t>Every </a:t>
            </a:r>
            <a:r>
              <a:rPr lang="en-US" dirty="0" err="1"/>
              <a:t>NameNode</a:t>
            </a:r>
            <a:r>
              <a:rPr lang="en-US" dirty="0"/>
              <a:t> got a </a:t>
            </a:r>
            <a:r>
              <a:rPr lang="en-US" b="1" dirty="0" err="1"/>
              <a:t>BackupNode</a:t>
            </a:r>
            <a:r>
              <a:rPr lang="en-US" dirty="0"/>
              <a:t>.</a:t>
            </a:r>
          </a:p>
          <a:p>
            <a:r>
              <a:rPr lang="en-US" dirty="0"/>
              <a:t>A </a:t>
            </a:r>
            <a:r>
              <a:rPr lang="en-US" b="1" dirty="0"/>
              <a:t>Data Node </a:t>
            </a:r>
            <a:r>
              <a:rPr lang="en-US" dirty="0"/>
              <a:t>is a block of different datasets within a cluster.</a:t>
            </a:r>
          </a:p>
          <a:p>
            <a:r>
              <a:rPr lang="en-US" dirty="0"/>
              <a:t>A Data Node stores a part of whole datasets and is usually divided into 128MB chunks.</a:t>
            </a:r>
          </a:p>
          <a:p>
            <a:r>
              <a:rPr lang="en-US" dirty="0"/>
              <a:t>Every Data Node got usually three replicas to ensure integrity and fault tolerance.</a:t>
            </a:r>
          </a:p>
          <a:p>
            <a:r>
              <a:rPr lang="en-US" dirty="0"/>
              <a:t>A Consumer is always communicating with the </a:t>
            </a:r>
            <a:r>
              <a:rPr lang="en-US" dirty="0" err="1"/>
              <a:t>NameNode</a:t>
            </a:r>
            <a:r>
              <a:rPr lang="en-US" dirty="0"/>
              <a:t> for reading or writing data.</a:t>
            </a:r>
          </a:p>
        </p:txBody>
      </p:sp>
      <p:pic>
        <p:nvPicPr>
          <p:cNvPr id="9" name="Grafik 8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80B39648-B404-C97F-A4F3-6FB8689E4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399" y="1745558"/>
            <a:ext cx="4030512" cy="39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  <p:pic>
        <p:nvPicPr>
          <p:cNvPr id="6" name="Grafik 5" descr="Ein Bild, das Text, Screenshot, Grafikdesign, Grafiken enthält.&#10;&#10;Automatisch generierte Beschreibung">
            <a:extLst>
              <a:ext uri="{FF2B5EF4-FFF2-40B4-BE49-F238E27FC236}">
                <a16:creationId xmlns:a16="http://schemas.microsoft.com/office/drawing/2014/main" id="{9F5E923E-B012-E8FF-8281-8A3ABCCB3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7385" y="1174485"/>
            <a:ext cx="4139014" cy="450903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E47FF-2BD3-F9F8-DCC0-EE67A1453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4993" y="1319282"/>
            <a:ext cx="4222281" cy="4955518"/>
          </a:xfrm>
        </p:spPr>
        <p:txBody>
          <a:bodyPr/>
          <a:lstStyle/>
          <a:p>
            <a:r>
              <a:rPr lang="en-US" dirty="0"/>
              <a:t>MapReduce is used for processing large data sets using Map, Shuffle and Reduce phases.</a:t>
            </a:r>
          </a:p>
          <a:p>
            <a:r>
              <a:rPr lang="en-US" b="1" dirty="0"/>
              <a:t>Map Phase </a:t>
            </a:r>
            <a:r>
              <a:rPr lang="en-US" dirty="0"/>
              <a:t>divides data into key-value pairs and process each pair independently by categorizing or applying specific computations. </a:t>
            </a:r>
            <a:endParaRPr lang="en-US" b="1" dirty="0"/>
          </a:p>
          <a:p>
            <a:r>
              <a:rPr lang="en-US" b="1" dirty="0"/>
              <a:t>Shuffle Phase </a:t>
            </a:r>
            <a:r>
              <a:rPr lang="en-US" dirty="0"/>
              <a:t>reorganization and redistribution of the key-value pairs generated in the Map Phase. This ensures that all values for a particular key are grouped together and sent to the same Reducer.</a:t>
            </a:r>
          </a:p>
          <a:p>
            <a:r>
              <a:rPr lang="en-US" b="1" dirty="0"/>
              <a:t>Reduce Phase </a:t>
            </a:r>
            <a:r>
              <a:rPr lang="en-US" dirty="0"/>
              <a:t>operates on each group of key-values, possibly combining or summarizing them to produce the final output.</a:t>
            </a: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580</Words>
  <Application>Microsoft Office PowerPoint</Application>
  <PresentationFormat>Bildschirmpräsentation (4:3)</PresentationFormat>
  <Paragraphs>176</Paragraphs>
  <Slides>23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  <vt:variant>
        <vt:lpstr>Zielgruppenorientierte Präsentationen</vt:lpstr>
      </vt:variant>
      <vt:variant>
        <vt:i4>1</vt:i4>
      </vt:variant>
    </vt:vector>
  </HeadingPairs>
  <TitlesOfParts>
    <vt:vector size="30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Kappa Architecture</vt:lpstr>
      <vt:lpstr>Introduction to Apache Kafka</vt:lpstr>
      <vt:lpstr>Apache Kafka</vt:lpstr>
      <vt:lpstr>Apache Flink</vt:lpstr>
      <vt:lpstr>Apache Flink</vt:lpstr>
      <vt:lpstr>Real Case Study: Twitter</vt:lpstr>
      <vt:lpstr>Real Case Study: Twitter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26</cp:revision>
  <cp:lastPrinted>2010-04-29T14:30:22Z</cp:lastPrinted>
  <dcterms:created xsi:type="dcterms:W3CDTF">2010-04-29T12:39:23Z</dcterms:created>
  <dcterms:modified xsi:type="dcterms:W3CDTF">2023-08-05T12:37:04Z</dcterms:modified>
</cp:coreProperties>
</file>